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66" r:id="rId4"/>
  </p:sldMasterIdLst>
  <p:notesMasterIdLst>
    <p:notesMasterId r:id="rId11"/>
  </p:notesMasterIdLst>
  <p:handoutMasterIdLst>
    <p:handoutMasterId r:id="rId12"/>
  </p:handoutMasterIdLst>
  <p:sldIdLst>
    <p:sldId id="306" r:id="rId5"/>
    <p:sldId id="338" r:id="rId6"/>
    <p:sldId id="340" r:id="rId7"/>
    <p:sldId id="339" r:id="rId8"/>
    <p:sldId id="334" r:id="rId9"/>
    <p:sldId id="337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B365D"/>
    <a:srgbClr val="63666A"/>
    <a:srgbClr val="D9DCD8"/>
    <a:srgbClr val="0D365D"/>
    <a:srgbClr val="AB2328"/>
    <a:srgbClr val="89ABE3"/>
    <a:srgbClr val="AB2228"/>
    <a:srgbClr val="AB2327"/>
    <a:srgbClr val="EE5C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25E5076-3810-47DD-B79F-674D7AD40C01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0" autoAdjust="0"/>
    <p:restoredTop sz="94780" autoAdjust="0"/>
  </p:normalViewPr>
  <p:slideViewPr>
    <p:cSldViewPr>
      <p:cViewPr varScale="1">
        <p:scale>
          <a:sx n="60" d="100"/>
          <a:sy n="60" d="100"/>
        </p:scale>
        <p:origin x="872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10" d="100"/>
          <a:sy n="110" d="100"/>
        </p:scale>
        <p:origin x="524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49A0CA-19C7-EA48-A0A3-DC4B89B0BD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D841CB-BC00-2C49-BB44-AE4A37AACB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48008-7972-9E41-83EA-F9693AF6AE93}" type="datetimeFigureOut">
              <a:rPr lang="en-US" smtClean="0"/>
              <a:t>6/25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93F442-95F2-D747-9D2D-BABA2573CD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3607E-D73F-4140-9777-BE07799653C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FA03F-6420-0644-A612-869BCF590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34639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E85E70-50BF-3C41-9579-FD4E815028A4}" type="datetimeFigureOut">
              <a:rPr lang="en-US" smtClean="0"/>
              <a:t>6/2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23AE6-B4CE-5E4F-82B3-FA97ABC36E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48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dlion.net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l &amp; Gas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2D8226C9-2E9F-19E7-A2A2-1935169FC8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747"/>
            <a:ext cx="12192000" cy="5163335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6EBC9A81-8509-E432-C910-8245E019801B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909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398646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3060845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723044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438524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2285220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940365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615069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4287911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436232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369394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3010624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687179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AB0D41A-A22B-E563-38EA-5694158721D0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767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07027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2732472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394671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4056870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A233034-672E-9F31-089A-EC08101C66FA}"/>
              </a:ext>
            </a:extLst>
          </p:cNvPr>
          <p:cNvSpPr>
            <a:spLocks noGrp="1"/>
          </p:cNvSpPr>
          <p:nvPr userDrawn="1">
            <p:ph type="body" idx="17" hasCustomPrompt="1"/>
          </p:nvPr>
        </p:nvSpPr>
        <p:spPr>
          <a:xfrm>
            <a:off x="609600" y="4719069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5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1956847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61199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286696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3959538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B5500A1-F711-C0EF-C6CB-71AA55E89CCB}"/>
              </a:ext>
            </a:extLst>
          </p:cNvPr>
          <p:cNvSpPr/>
          <p:nvPr userDrawn="1"/>
        </p:nvSpPr>
        <p:spPr>
          <a:xfrm>
            <a:off x="5867142" y="4614683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403395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041021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2682251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358806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5936083" y="4688615"/>
            <a:ext cx="31931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F7E22C97-84D1-6F24-2337-688BD3AADFFC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588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1740477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2402676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064875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3727074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A233034-672E-9F31-089A-EC08101C66FA}"/>
              </a:ext>
            </a:extLst>
          </p:cNvPr>
          <p:cNvSpPr>
            <a:spLocks noGrp="1"/>
          </p:cNvSpPr>
          <p:nvPr userDrawn="1">
            <p:ph type="body" idx="17" hasCustomPrompt="1"/>
          </p:nvPr>
        </p:nvSpPr>
        <p:spPr>
          <a:xfrm>
            <a:off x="609600" y="438927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5: Click to edi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D088E82-97E8-2166-FE98-B6A1E1A8C561}"/>
              </a:ext>
            </a:extLst>
          </p:cNvPr>
          <p:cNvSpPr>
            <a:spLocks noGrp="1"/>
          </p:cNvSpPr>
          <p:nvPr userDrawn="1">
            <p:ph type="body" idx="18" hasCustomPrompt="1"/>
          </p:nvPr>
        </p:nvSpPr>
        <p:spPr>
          <a:xfrm>
            <a:off x="609600" y="5051470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6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1627051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282196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2956900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362974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B5500A1-F711-C0EF-C6CB-71AA55E89CCB}"/>
              </a:ext>
            </a:extLst>
          </p:cNvPr>
          <p:cNvSpPr/>
          <p:nvPr userDrawn="1"/>
        </p:nvSpPr>
        <p:spPr>
          <a:xfrm>
            <a:off x="5867142" y="4284887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63E3EB-463D-E32A-DB6E-1DAE0C913FEE}"/>
              </a:ext>
            </a:extLst>
          </p:cNvPr>
          <p:cNvSpPr/>
          <p:nvPr userDrawn="1"/>
        </p:nvSpPr>
        <p:spPr>
          <a:xfrm>
            <a:off x="5867142" y="494003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3704156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171122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235245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029010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5936083" y="4358819"/>
            <a:ext cx="31931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5945701" y="501805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5B68B5EB-BFE7-E07C-AA45-243304EB6FCF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350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E39B5F-4603-E073-54D1-443CB4C96D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5" y="1600200"/>
            <a:ext cx="11058525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03B0410A-809B-B73F-FDE3-EE020E828C1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11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0F97822-8794-45A7-974E-A48B1CE2A1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-1"/>
            <a:ext cx="6078222" cy="6172200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5D88D7BE-A1D3-AC22-277C-F8CAB6FE8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1155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 i="0">
                <a:latin typeface="Titillium Web Ligh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4CF95E1-954F-A650-C7E4-910DD5E83E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3876" y="838200"/>
            <a:ext cx="51155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89B154D-3AEF-21C9-A648-AE6B67F947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3876" y="1600200"/>
            <a:ext cx="511492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655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5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Squar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0F97822-8794-45A7-974E-A48B1CE2A1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656320" y="301831"/>
            <a:ext cx="292100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8" name="Title Placeholder 12">
            <a:extLst>
              <a:ext uri="{FF2B5EF4-FFF2-40B4-BE49-F238E27FC236}">
                <a16:creationId xmlns:a16="http://schemas.microsoft.com/office/drawing/2014/main" id="{AF4E1544-901D-BD0A-F7F7-B140EBCA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77825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3D4561-30D2-AA6A-297C-38B9039829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77825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10" name="Picture Placeholder 30">
            <a:extLst>
              <a:ext uri="{FF2B5EF4-FFF2-40B4-BE49-F238E27FC236}">
                <a16:creationId xmlns:a16="http://schemas.microsoft.com/office/drawing/2014/main" id="{CE42BE7E-B9D2-553A-AE77-EE621E762C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656320" y="3381004"/>
            <a:ext cx="292100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844913D-7E9D-C943-099B-88C357D029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778192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AD19254B-71A8-CFAD-5B42-B176965C0FC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411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2">
            <a:extLst>
              <a:ext uri="{FF2B5EF4-FFF2-40B4-BE49-F238E27FC236}">
                <a16:creationId xmlns:a16="http://schemas.microsoft.com/office/drawing/2014/main" id="{B274CE00-D06A-F8A3-4F57-825FE0CA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44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DC0999-AC5B-44C2-FFC6-6020D26A9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557244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12" name="Picture Placeholder 30">
            <a:extLst>
              <a:ext uri="{FF2B5EF4-FFF2-40B4-BE49-F238E27FC236}">
                <a16:creationId xmlns:a16="http://schemas.microsoft.com/office/drawing/2014/main" id="{F89F9FCC-FB6A-D8F1-5452-8BDDA83EB0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77000" y="301831"/>
            <a:ext cx="5100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3" name="Picture Placeholder 30">
            <a:extLst>
              <a:ext uri="{FF2B5EF4-FFF2-40B4-BE49-F238E27FC236}">
                <a16:creationId xmlns:a16="http://schemas.microsoft.com/office/drawing/2014/main" id="{9694B689-BA48-9EDD-79EA-E2BC323BDD1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77000" y="3381004"/>
            <a:ext cx="5100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7373CDF-D919-DCC3-264E-2C51C0CC57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557180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A29A3980-A2DC-1A7F-02E1-2DE82DC4C186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915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4 Squar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74A8DF2F-2E8C-335D-EC57-5E73BC831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44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1D3BF9-008A-C187-FDC6-4371C4DE97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557244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9" name="Picture Placeholder 30">
            <a:extLst>
              <a:ext uri="{FF2B5EF4-FFF2-40B4-BE49-F238E27FC236}">
                <a16:creationId xmlns:a16="http://schemas.microsoft.com/office/drawing/2014/main" id="{247EAB09-BC93-D7DF-14CF-2AB082B7FD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44000" y="301831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0" name="Picture Placeholder 30">
            <a:extLst>
              <a:ext uri="{FF2B5EF4-FFF2-40B4-BE49-F238E27FC236}">
                <a16:creationId xmlns:a16="http://schemas.microsoft.com/office/drawing/2014/main" id="{A9F9B7C8-529A-B9B3-B9B9-64C0D5F3DD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44000" y="3381004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9" name="Picture Placeholder 30">
            <a:extLst>
              <a:ext uri="{FF2B5EF4-FFF2-40B4-BE49-F238E27FC236}">
                <a16:creationId xmlns:a16="http://schemas.microsoft.com/office/drawing/2014/main" id="{E0E038EB-3486-6D52-3DEC-E87913CB02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05880" y="301831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0" name="Picture Placeholder 30">
            <a:extLst>
              <a:ext uri="{FF2B5EF4-FFF2-40B4-BE49-F238E27FC236}">
                <a16:creationId xmlns:a16="http://schemas.microsoft.com/office/drawing/2014/main" id="{806DDC50-162F-12A1-404E-C998571DA5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05880" y="3381004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3F87EFC3-D105-3751-578F-154D0966DC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557180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199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456351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90B3A783-3D81-5268-F1E4-A572ED9844F3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401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7FB99E0-3B9F-7F0D-C067-57B8DCF1820D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9600" y="1600200"/>
            <a:ext cx="10972800" cy="4572000"/>
          </a:xfrm>
          <a:prstGeom prst="rect">
            <a:avLst/>
          </a:prstGeom>
          <a:noFill/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0E6C3765-027F-B7DA-0CDD-0266C5211A41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434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1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45C1FE74-0617-C0BB-58ED-DBAE939F46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881794" cy="515302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2D5CDE4B-41E3-18D2-7611-55F5836866A1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44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Inhaltsplatzhalter 6">
            <a:extLst>
              <a:ext uri="{FF2B5EF4-FFF2-40B4-BE49-F238E27FC236}">
                <a16:creationId xmlns:a16="http://schemas.microsoft.com/office/drawing/2014/main" id="{60F041AD-1725-9F44-F07D-34107FAF05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0" y="4031937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26EB6902-3682-A1A7-F858-A8F5261A6FC2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18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Stacke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AFE6CCA-62CA-B2AD-BDD0-0EE37ACB91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5" y="4031936"/>
            <a:ext cx="11058525" cy="214026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3B11535F-A782-BE88-78F6-B78F8C7C90A0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90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Stacke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0235" y="4028605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ED12016-D54E-BCD3-D2DE-61AE861876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875" y="1610688"/>
            <a:ext cx="11058525" cy="21402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915A9854-5B7E-C223-68E7-9C1A91BEC3FA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79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0" y="304801"/>
            <a:ext cx="5486400" cy="58640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1149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1149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7B4B65F-2F3E-D9F2-06FB-B59DD84CBC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876" y="1610688"/>
            <a:ext cx="5114290" cy="45615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B99585BF-6061-68ED-9540-C735AEEB327E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76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pos="355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E1702C1-95C6-03B3-D818-1D9090389071}"/>
              </a:ext>
            </a:extLst>
          </p:cNvPr>
          <p:cNvSpPr/>
          <p:nvPr userDrawn="1"/>
        </p:nvSpPr>
        <p:spPr>
          <a:xfrm>
            <a:off x="0" y="1408"/>
            <a:ext cx="12192000" cy="6172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id="{5103A4DD-4782-C70C-C61C-DD88663129B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437765" y="1600199"/>
            <a:ext cx="7315835" cy="4114801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VIDEO ICON BELOW TO INSERT CONTEN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81529E3-0ED1-7ABF-2C2C-8083ED1001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867400"/>
            <a:ext cx="9144000" cy="304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 algn="ctr">
              <a:buNone/>
              <a:defRPr sz="14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noProof="0" dirty="0"/>
              <a:t>SUBTITLE OF THIS VIDEO SLIDE: CLICK IN THE TEXT TO EDIT THE CONTENT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90746B3-F477-BD70-9539-30B8750230B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362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ot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7BD6C0-FA32-B997-B5F6-7C7844E16520}"/>
              </a:ext>
            </a:extLst>
          </p:cNvPr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E2215D79-55E1-3435-DD78-F762C5F2CA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426" y="6394137"/>
            <a:ext cx="2564574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Lato Light" panose="020F0302020204030203" pitchFamily="34" charset="77"/>
              </a:defRPr>
            </a:lvl1pPr>
          </a:lstStyle>
          <a:p>
            <a:fld id="{D36A1B9F-4F6A-4327-8B00-596A0FFEE630}" type="slidenum">
              <a:rPr lang="en-US" smtClean="0"/>
              <a:pPr/>
              <a:t>‹#›</a:t>
            </a:fld>
            <a:r>
              <a:rPr lang="en-US" dirty="0"/>
              <a:t>        © Red Lion Contro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 i="0" spc="100" baseline="0">
                <a:solidFill>
                  <a:schemeClr val="tx2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id="{5103A4DD-4782-C70C-C61C-DD88663129B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437765" y="1600199"/>
            <a:ext cx="7315835" cy="4114801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VIDEO ICON BELOW TO INSERT CONTENT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7074D536-472B-5502-B06B-E9E587249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07165" y="6394137"/>
            <a:ext cx="1760835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Lato Light" panose="020F0302020204030203" pitchFamily="34" charset="77"/>
              </a:defRPr>
            </a:lvl1pPr>
          </a:lstStyle>
          <a:p>
            <a:fld id="{4A4D636F-E9EF-914F-AE97-1ED7C590C260}" type="datetime1">
              <a:rPr lang="en-US" smtClean="0"/>
              <a:pPr/>
              <a:t>6/25/2024</a:t>
            </a:fld>
            <a:endParaRPr lang="en-US" dirty="0"/>
          </a:p>
        </p:txBody>
      </p:sp>
      <p:sp>
        <p:nvSpPr>
          <p:cNvPr id="7" name="Freihandform 10">
            <a:extLst>
              <a:ext uri="{FF2B5EF4-FFF2-40B4-BE49-F238E27FC236}">
                <a16:creationId xmlns:a16="http://schemas.microsoft.com/office/drawing/2014/main" id="{B74780C8-8B50-9072-818B-35E6C16765E2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6326252"/>
            <a:ext cx="240398" cy="240398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AB2328"/>
              </a:solidFill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72C5E1D-FCB4-BB6C-14BB-DF2E233EBCB5}"/>
              </a:ext>
            </a:extLst>
          </p:cNvPr>
          <p:cNvSpPr/>
          <p:nvPr userDrawn="1"/>
        </p:nvSpPr>
        <p:spPr>
          <a:xfrm>
            <a:off x="4917816" y="6172199"/>
            <a:ext cx="6893183" cy="533400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7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525780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525780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4602" y="1600200"/>
            <a:ext cx="525780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1444" y="2242820"/>
            <a:ext cx="525780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EE3DD33-20A9-FC40-8555-D5AAA767E83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815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347472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8640" y="1600200"/>
            <a:ext cx="347472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864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FD67AA3-0AFF-3C74-B1FB-64001694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7680" y="1600200"/>
            <a:ext cx="347472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0923E86-275C-FEB6-022F-A6E161A9BA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0768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749968D-F45C-E30B-4386-2DE19CDBDF91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33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5455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75455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FD67AA3-0AFF-3C74-B1FB-64001694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131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0923E86-275C-FEB6-022F-A6E161A9BA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4131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59EA8D8-68D4-D2B4-22AB-BCCDDB8A51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07165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AB20502-7BC1-2C37-CDE6-8676E76F070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92048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BECFAB5C-6BBC-EAD2-78EF-38CA082BDC0C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76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7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6" y="838200"/>
            <a:ext cx="55727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9160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43916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6" name="Picture Placeholder 30">
            <a:extLst>
              <a:ext uri="{FF2B5EF4-FFF2-40B4-BE49-F238E27FC236}">
                <a16:creationId xmlns:a16="http://schemas.microsoft.com/office/drawing/2014/main" id="{19759DE7-EE74-EDA3-BF31-CF62A16637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4600" y="-1"/>
            <a:ext cx="5849622" cy="6172200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18A9A4BB-5243-FAFE-BFF3-FB9DF1FF631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322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2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4436A235-2383-EBEA-3EA8-DBAE45400E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1602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878F2C19-2164-D710-C918-73D39EB6DBEE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507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31952D-6F1D-B8F5-D938-DBD5BE947D1D}"/>
              </a:ext>
            </a:extLst>
          </p:cNvPr>
          <p:cNvSpPr/>
          <p:nvPr userDrawn="1"/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2219326"/>
            <a:ext cx="838200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reihandform 1">
            <a:extLst>
              <a:ext uri="{FF2B5EF4-FFF2-40B4-BE49-F238E27FC236}">
                <a16:creationId xmlns:a16="http://schemas.microsoft.com/office/drawing/2014/main" id="{A6A13A79-BA4D-8055-ECAD-7DA7972D13D1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1635125"/>
            <a:ext cx="1793875" cy="1793875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>
              <a:solidFill>
                <a:srgbClr val="AB2328"/>
              </a:solidFill>
            </a:endParaRPr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FAC8FA60-1DD9-50BD-7617-51804AE67A29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143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nip Single Corner Rectangle 3">
            <a:extLst>
              <a:ext uri="{FF2B5EF4-FFF2-40B4-BE49-F238E27FC236}">
                <a16:creationId xmlns:a16="http://schemas.microsoft.com/office/drawing/2014/main" id="{8932C809-9029-91B4-7D8F-7992875DC2FA}"/>
              </a:ext>
            </a:extLst>
          </p:cNvPr>
          <p:cNvSpPr/>
          <p:nvPr userDrawn="1"/>
        </p:nvSpPr>
        <p:spPr>
          <a:xfrm rot="10800000">
            <a:off x="6090920" y="0"/>
            <a:ext cx="6096000" cy="6172200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A black and grey logo&#10;&#10;Description automatically generated">
            <a:extLst>
              <a:ext uri="{FF2B5EF4-FFF2-40B4-BE49-F238E27FC236}">
                <a16:creationId xmlns:a16="http://schemas.microsoft.com/office/drawing/2014/main" id="{7BB109A8-219A-F273-E4F0-9C90028569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668780"/>
            <a:ext cx="4289399" cy="2438400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39F479F-98EF-FDB7-79EA-97AC58A3A562}"/>
              </a:ext>
            </a:extLst>
          </p:cNvPr>
          <p:cNvSpPr txBox="1"/>
          <p:nvPr userDrawn="1"/>
        </p:nvSpPr>
        <p:spPr>
          <a:xfrm>
            <a:off x="6090920" y="2438400"/>
            <a:ext cx="609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spc="100" baseline="0" noProof="0" dirty="0">
                <a:solidFill>
                  <a:schemeClr val="bg1"/>
                </a:solidFill>
                <a:latin typeface="Titillium" pitchFamily="2" charset="77"/>
              </a:rPr>
              <a:t>FOR MORE INFORMATION</a:t>
            </a:r>
          </a:p>
        </p:txBody>
      </p:sp>
      <p:sp>
        <p:nvSpPr>
          <p:cNvPr id="10" name="Textfeld 11">
            <a:hlinkClick r:id="rId3"/>
            <a:extLst>
              <a:ext uri="{FF2B5EF4-FFF2-40B4-BE49-F238E27FC236}">
                <a16:creationId xmlns:a16="http://schemas.microsoft.com/office/drawing/2014/main" id="{496EE554-3580-EE97-6820-B0CE183715EE}"/>
              </a:ext>
            </a:extLst>
          </p:cNvPr>
          <p:cNvSpPr txBox="1"/>
          <p:nvPr userDrawn="1"/>
        </p:nvSpPr>
        <p:spPr>
          <a:xfrm>
            <a:off x="6090920" y="2761714"/>
            <a:ext cx="6096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u="none" noProof="0" dirty="0">
                <a:solidFill>
                  <a:schemeClr val="bg1"/>
                </a:solidFill>
                <a:latin typeface="Titillium" pitchFamily="2" charset="77"/>
              </a:rPr>
              <a:t>redlion.net</a:t>
            </a:r>
          </a:p>
        </p:txBody>
      </p:sp>
      <p:sp>
        <p:nvSpPr>
          <p:cNvPr id="2" name="Freihandform 14">
            <a:extLst>
              <a:ext uri="{FF2B5EF4-FFF2-40B4-BE49-F238E27FC236}">
                <a16:creationId xmlns:a16="http://schemas.microsoft.com/office/drawing/2014/main" id="{0991C9A1-A831-B44A-A21F-5759C0041A33}"/>
              </a:ext>
            </a:extLst>
          </p:cNvPr>
          <p:cNvSpPr>
            <a:spLocks/>
          </p:cNvSpPr>
          <p:nvPr userDrawn="1"/>
        </p:nvSpPr>
        <p:spPr>
          <a:xfrm>
            <a:off x="6096000" y="1"/>
            <a:ext cx="6096000" cy="58420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DE16792A-0A51-9252-F4C6-7109753E2E8A}"/>
              </a:ext>
            </a:extLst>
          </p:cNvPr>
          <p:cNvSpPr txBox="1"/>
          <p:nvPr userDrawn="1"/>
        </p:nvSpPr>
        <p:spPr>
          <a:xfrm>
            <a:off x="7245847" y="2084496"/>
            <a:ext cx="379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noProof="0" dirty="0">
                <a:solidFill>
                  <a:schemeClr val="bg1"/>
                </a:solidFill>
                <a:latin typeface="Titillium" pitchFamily="2" charset="77"/>
              </a:rPr>
              <a:t>for more information</a:t>
            </a:r>
          </a:p>
        </p:txBody>
      </p:sp>
      <p:sp>
        <p:nvSpPr>
          <p:cNvPr id="5" name="Textfeld 11">
            <a:hlinkClick r:id="rId3"/>
            <a:extLst>
              <a:ext uri="{FF2B5EF4-FFF2-40B4-BE49-F238E27FC236}">
                <a16:creationId xmlns:a16="http://schemas.microsoft.com/office/drawing/2014/main" id="{C686610A-FAE2-A66F-5762-1A911ADBB224}"/>
              </a:ext>
            </a:extLst>
          </p:cNvPr>
          <p:cNvSpPr txBox="1"/>
          <p:nvPr userDrawn="1"/>
        </p:nvSpPr>
        <p:spPr>
          <a:xfrm>
            <a:off x="6958852" y="2590489"/>
            <a:ext cx="43702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u="none" noProof="0" dirty="0">
                <a:solidFill>
                  <a:schemeClr val="bg1"/>
                </a:solidFill>
                <a:latin typeface="Titillium" pitchFamily="2" charset="77"/>
              </a:rPr>
              <a:t>redlion.net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CB31ED3-74FD-399F-0404-94BDB3E046B9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2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3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8BA994A6-D098-B82B-2C81-7CE856E336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3B18128D-9093-99FD-EED6-A851B59D9C09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96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ste + Wastewater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D28DA5FD-50AA-107F-3B32-2A4B443F47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384820CA-64C4-47DC-FBDD-87BEEC9E38FD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267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newable Energy 1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Picture 1" descr="A wind turbines in the background&#10;&#10;Description automatically generated">
            <a:extLst>
              <a:ext uri="{FF2B5EF4-FFF2-40B4-BE49-F238E27FC236}">
                <a16:creationId xmlns:a16="http://schemas.microsoft.com/office/drawing/2014/main" id="{AC995184-7EEC-441C-5D11-68A9EA1F9D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863"/>
            <a:ext cx="12192000" cy="5167888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4BF5C74D-9765-231A-D32D-0F3EDA46FB86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122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newable Energy 2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7DBCE81D-A39C-844D-D540-9EA4134633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471B8209-31DC-250A-AB6C-29D7BF106B33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792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+ Utilities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1EE0F729-B821-36AB-9CCB-1A387ECF8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917310" cy="5167232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D6F614F6-042F-B78A-F68F-32B4CF8AC5AD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8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 dirty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673709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600" y="3335908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09600" y="3998107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2560283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3215428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89013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644457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3285687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96224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 i="0" spc="100" baseline="0">
                <a:solidFill>
                  <a:schemeClr val="tx2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6DC377F3-6CAA-9892-944C-883F8558655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439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A8074E4-8B4E-3F1F-737D-EE81A024A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643716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14" imgH="412" progId="TCLayout.ActiveDocument.1">
                  <p:embed/>
                </p:oleObj>
              </mc:Choice>
              <mc:Fallback>
                <p:oleObj name="think-cell Slide" r:id="rId34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A9388C4E-8202-C4C3-8A15-AAE759922103}"/>
              </a:ext>
            </a:extLst>
          </p:cNvPr>
          <p:cNvSpPr txBox="1"/>
          <p:nvPr userDrawn="1"/>
        </p:nvSpPr>
        <p:spPr>
          <a:xfrm>
            <a:off x="864426" y="6383836"/>
            <a:ext cx="28956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D36A1B9F-4F6A-4327-8B00-596A0FFEE630}" type="slidenum">
              <a:rPr lang="en-US" sz="1000" smtClean="0"/>
              <a:pPr/>
              <a:t>‹#›</a:t>
            </a:fld>
            <a:r>
              <a:rPr lang="en-US" sz="1000" dirty="0"/>
              <a:t>        © Red Lion Controls </a:t>
            </a:r>
            <a:fld id="{858D76CC-CE66-43D7-8957-F66ADDE066EE}" type="datetimeyyyy">
              <a:rPr lang="en-US" sz="1000" smtClean="0"/>
              <a:pPr/>
              <a:t>2024</a:t>
            </a:fld>
            <a:endParaRPr lang="en-US" sz="100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896E482-A6A4-82B6-A208-21BCE5D56111}"/>
              </a:ext>
            </a:extLst>
          </p:cNvPr>
          <p:cNvSpPr txBox="1">
            <a:spLocks/>
          </p:cNvSpPr>
          <p:nvPr userDrawn="1"/>
        </p:nvSpPr>
        <p:spPr>
          <a:xfrm>
            <a:off x="595640" y="6140389"/>
            <a:ext cx="8893999" cy="6121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rgbClr val="1B365D"/>
                </a:solidFill>
                <a:latin typeface="Titillium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sp>
        <p:nvSpPr>
          <p:cNvPr id="12" name="Freihandform 10">
            <a:extLst>
              <a:ext uri="{FF2B5EF4-FFF2-40B4-BE49-F238E27FC236}">
                <a16:creationId xmlns:a16="http://schemas.microsoft.com/office/drawing/2014/main" id="{0CAAF138-1165-F093-FBD9-581F48DF6779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6326252"/>
            <a:ext cx="240398" cy="240398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AB2328"/>
              </a:solidFill>
            </a:endParaRP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91178E3F-1F2B-49FD-4BB5-56F053DBB04A}"/>
              </a:ext>
            </a:extLst>
          </p:cNvPr>
          <p:cNvSpPr txBox="1">
            <a:spLocks/>
          </p:cNvSpPr>
          <p:nvPr userDrawn="1"/>
        </p:nvSpPr>
        <p:spPr>
          <a:xfrm>
            <a:off x="8991600" y="6419506"/>
            <a:ext cx="1760835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US" sz="1000" b="0" i="0" kern="1200" smtClean="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4D636F-E9EF-914F-AE97-1ED7C590C260}" type="datetime1">
              <a:rPr lang="en-US" smtClean="0"/>
              <a:pPr/>
              <a:t>6/25/2024</a:t>
            </a:fld>
            <a:endParaRPr lang="en-US" dirty="0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BD8081D1-7245-AFA4-0E5D-9F5BAEA70B5A}"/>
              </a:ext>
            </a:extLst>
          </p:cNvPr>
          <p:cNvSpPr txBox="1">
            <a:spLocks/>
          </p:cNvSpPr>
          <p:nvPr userDrawn="1"/>
        </p:nvSpPr>
        <p:spPr>
          <a:xfrm>
            <a:off x="4038600" y="5828744"/>
            <a:ext cx="4114800" cy="1725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BEA10E9-19EF-4060-46C2-A5DE5AD91A9E}"/>
              </a:ext>
            </a:extLst>
          </p:cNvPr>
          <p:cNvSpPr txBox="1"/>
          <p:nvPr userDrawn="1"/>
        </p:nvSpPr>
        <p:spPr>
          <a:xfrm>
            <a:off x="4648200" y="6383836"/>
            <a:ext cx="28956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dirty="0"/>
              <a:t>New Product Introduction</a:t>
            </a:r>
          </a:p>
        </p:txBody>
      </p:sp>
    </p:spTree>
    <p:extLst>
      <p:ext uri="{BB962C8B-B14F-4D97-AF65-F5344CB8AC3E}">
        <p14:creationId xmlns:p14="http://schemas.microsoft.com/office/powerpoint/2010/main" val="40780830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0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872" r:id="rId9"/>
    <p:sldLayoutId id="2147483891" r:id="rId10"/>
    <p:sldLayoutId id="2147483892" r:id="rId11"/>
    <p:sldLayoutId id="2147483893" r:id="rId12"/>
    <p:sldLayoutId id="2147483877" r:id="rId13"/>
    <p:sldLayoutId id="2147483873" r:id="rId14"/>
    <p:sldLayoutId id="2147483874" r:id="rId15"/>
    <p:sldLayoutId id="2147483875" r:id="rId16"/>
    <p:sldLayoutId id="2147483876" r:id="rId17"/>
    <p:sldLayoutId id="2147483878" r:id="rId18"/>
    <p:sldLayoutId id="2147483901" r:id="rId19"/>
    <p:sldLayoutId id="2147483879" r:id="rId20"/>
    <p:sldLayoutId id="2147483880" r:id="rId21"/>
    <p:sldLayoutId id="2147483881" r:id="rId22"/>
    <p:sldLayoutId id="2147483882" r:id="rId23"/>
    <p:sldLayoutId id="2147483883" r:id="rId24"/>
    <p:sldLayoutId id="2147483884" r:id="rId25"/>
    <p:sldLayoutId id="2147483885" r:id="rId26"/>
    <p:sldLayoutId id="2147483886" r:id="rId27"/>
    <p:sldLayoutId id="2147483887" r:id="rId28"/>
    <p:sldLayoutId id="2147483888" r:id="rId29"/>
    <p:sldLayoutId id="2147483889" r:id="rId30"/>
    <p:sldLayoutId id="2147483890" r:id="rId3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baseline="0">
          <a:solidFill>
            <a:srgbClr val="AB2328"/>
          </a:solidFill>
          <a:latin typeface="Titillium Web Light" pitchFamily="2" charset="77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20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8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4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4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4128">
          <p15:clr>
            <a:srgbClr val="F26B43"/>
          </p15:clr>
        </p15:guide>
        <p15:guide id="9" orient="horz" pos="3888">
          <p15:clr>
            <a:srgbClr val="F26B43"/>
          </p15:clr>
        </p15:guide>
        <p15:guide id="10" orient="horz" pos="672">
          <p15:clr>
            <a:srgbClr val="F26B43"/>
          </p15:clr>
        </p15:guide>
        <p15:guide id="11" orient="horz" pos="1008">
          <p15:clr>
            <a:srgbClr val="F26B43"/>
          </p15:clr>
        </p15:guide>
        <p15:guide id="12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7.xml"/><Relationship Id="rId5" Type="http://schemas.openxmlformats.org/officeDocument/2006/relationships/hyperlink" Target="https://www.redlion.net/NT116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E208D3-D9C5-D528-98C2-E52BC2DDE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17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2" progId="TCLayout.ActiveDocument.1">
                  <p:embed/>
                </p:oleObj>
              </mc:Choice>
              <mc:Fallback>
                <p:oleObj name="think-cell Slide" r:id="rId3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D6B4C6-F759-F39D-3E0B-FCDFA28BB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8573" y="5794088"/>
            <a:ext cx="9235027" cy="682912"/>
          </a:xfrm>
        </p:spPr>
        <p:txBody>
          <a:bodyPr>
            <a:normAutofit/>
          </a:bodyPr>
          <a:lstStyle/>
          <a:p>
            <a:r>
              <a:rPr lang="en-US" dirty="0"/>
              <a:t>Unmanaged 16-Port Industrial Ethernet Switch</a:t>
            </a:r>
          </a:p>
          <a:p>
            <a:r>
              <a:rPr lang="en-US" dirty="0"/>
              <a:t>Available June 27,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7D959A-B1FA-0A7C-4E57-22503A083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i="1" dirty="0"/>
              <a:t>New</a:t>
            </a:r>
            <a:r>
              <a:rPr lang="en-US" dirty="0"/>
              <a:t> N-Tron Series NT116</a:t>
            </a:r>
          </a:p>
        </p:txBody>
      </p:sp>
    </p:spTree>
    <p:extLst>
      <p:ext uri="{BB962C8B-B14F-4D97-AF65-F5344CB8AC3E}">
        <p14:creationId xmlns:p14="http://schemas.microsoft.com/office/powerpoint/2010/main" val="3258000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0C1E7BA-354C-6E95-E56B-DB896259EA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37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2" progId="TCLayout.ActiveDocument.1">
                  <p:embed/>
                </p:oleObj>
              </mc:Choice>
              <mc:Fallback>
                <p:oleObj name="think-cell Slide" r:id="rId3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A1CFAC5-2FD2-B11E-1474-C86EF6CD2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6" y="86361"/>
            <a:ext cx="5115560" cy="685799"/>
          </a:xfrm>
        </p:spPr>
        <p:txBody>
          <a:bodyPr vert="horz">
            <a:normAutofit/>
          </a:bodyPr>
          <a:lstStyle/>
          <a:p>
            <a:r>
              <a:rPr lang="en-US" dirty="0"/>
              <a:t>N-Tron Series NT116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7F42FF-77BA-C98C-39F0-DA9025BD31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767080"/>
            <a:ext cx="5495924" cy="609600"/>
          </a:xfrm>
        </p:spPr>
        <p:txBody>
          <a:bodyPr/>
          <a:lstStyle/>
          <a:p>
            <a:r>
              <a:rPr lang="en-US" dirty="0"/>
              <a:t>Compact 16-Port Unmanaged Industrial Ethernet Switc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C22085-2D4D-BDC2-290B-2A45CB9F48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8955" y="1140007"/>
            <a:ext cx="6697389" cy="45720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compact-N-Tron® NT116 unmanaged Ethernet switch is designed for use in industrial applications that demand dependable performance under harsh conditions. NT116 standard features include:</a:t>
            </a:r>
          </a:p>
          <a:p>
            <a:r>
              <a:rPr lang="en-US" dirty="0"/>
              <a:t>Sixteen 10/100BaseTX RJ45 ports</a:t>
            </a:r>
          </a:p>
          <a:p>
            <a:r>
              <a:rPr lang="en-US" dirty="0"/>
              <a:t>Redundant 10-49 VDC power inputs</a:t>
            </a:r>
          </a:p>
          <a:p>
            <a:r>
              <a:rPr lang="en-US" dirty="0"/>
              <a:t>Compact, space saving hardened industrial design</a:t>
            </a:r>
          </a:p>
          <a:p>
            <a:r>
              <a:rPr lang="en-US" dirty="0"/>
              <a:t>-40 °C to 85 °C  operating temperature </a:t>
            </a:r>
          </a:p>
          <a:p>
            <a:r>
              <a:rPr lang="en-US" dirty="0"/>
              <a:t>Reverse Polarity Protection</a:t>
            </a:r>
          </a:p>
          <a:p>
            <a:r>
              <a:rPr lang="en-US" dirty="0"/>
              <a:t>ESD and surge protection</a:t>
            </a:r>
          </a:p>
          <a:p>
            <a:r>
              <a:rPr lang="en-US" dirty="0"/>
              <a:t>High shock and vibration tolerance</a:t>
            </a:r>
          </a:p>
          <a:p>
            <a:r>
              <a:rPr lang="en-US" dirty="0"/>
              <a:t>IEEE 802.3 compliance</a:t>
            </a:r>
          </a:p>
          <a:p>
            <a:r>
              <a:rPr lang="en-US" dirty="0"/>
              <a:t>Full wire speed communication</a:t>
            </a:r>
          </a:p>
          <a:p>
            <a:r>
              <a:rPr lang="en-US" dirty="0"/>
              <a:t>Auto-sensing speed and flow control</a:t>
            </a:r>
          </a:p>
          <a:p>
            <a:r>
              <a:rPr lang="en-US" dirty="0"/>
              <a:t>Jumbo frame support</a:t>
            </a:r>
          </a:p>
          <a:p>
            <a:r>
              <a:rPr lang="en-US" dirty="0"/>
              <a:t>Field installable panel mount op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5" name="Picture 44" descr="A grey device with many ports&#10;&#10;Description automatically generated">
            <a:extLst>
              <a:ext uri="{FF2B5EF4-FFF2-40B4-BE49-F238E27FC236}">
                <a16:creationId xmlns:a16="http://schemas.microsoft.com/office/drawing/2014/main" id="{45BB82E0-A087-FB58-217C-CFCC40FA695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52" t="9796" r="29768" b="4489"/>
          <a:stretch/>
        </p:blipFill>
        <p:spPr>
          <a:xfrm>
            <a:off x="7226345" y="838200"/>
            <a:ext cx="3594054" cy="46482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D11EBC0-BBB8-7471-AF33-A2A1A7A29E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5030" y="5334000"/>
            <a:ext cx="5807919" cy="82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807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0196DD6-C63B-3F1E-8C80-A35F0C933D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278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2" progId="TCLayout.ActiveDocument.1">
                  <p:embed/>
                </p:oleObj>
              </mc:Choice>
              <mc:Fallback>
                <p:oleObj name="think-cell Slide" r:id="rId3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AD9E520-EE1A-F744-8AE0-203687E5C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-Tron® Series NT116 Certification &amp; Complia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16C805-E519-5349-52CC-C5939C864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ertification &amp; Complian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660C7E-4CBD-32D4-7529-CF7C091AD6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7680" y="1605280"/>
            <a:ext cx="7543800" cy="4495800"/>
          </a:xfrm>
        </p:spPr>
        <p:txBody>
          <a:bodyPr/>
          <a:lstStyle/>
          <a:p>
            <a:r>
              <a:rPr lang="en-US" sz="1800" b="1" dirty="0"/>
              <a:t>Product Safety: </a:t>
            </a:r>
            <a:r>
              <a:rPr lang="en-US" sz="1800" dirty="0"/>
              <a:t>UL 61010 and C22.2 No. 61010 OrdLoc, UL 121201 and CSA C22.2 No. 213 Class I, Division 2 HazLoc, ATEX, IECEx Ex ec IIC T4 Gc, IECEx UL 23.0092X and UL 23 ATEX 3128X </a:t>
            </a:r>
          </a:p>
          <a:p>
            <a:r>
              <a:rPr lang="en-US" sz="1800" b="1" dirty="0"/>
              <a:t>EMI/EMC: </a:t>
            </a:r>
            <a:r>
              <a:rPr lang="en-US" sz="1800" dirty="0"/>
              <a:t>CFR 47, Part 15, Subpart B, Canada ICES-003, ANSI C63.4, EN 61000-6-2 and 4, IEC 61000-4-2, 3, 4, 5, 6 and 8 </a:t>
            </a:r>
          </a:p>
          <a:p>
            <a:r>
              <a:rPr lang="en-US" sz="1800" b="1" dirty="0"/>
              <a:t>Shock &amp; Vibration (panel mounted): </a:t>
            </a:r>
            <a:r>
              <a:rPr lang="en-US" sz="1800" dirty="0"/>
              <a:t>IEC 68-2-27: 200 g @ 10 ms Triaxial; non-operational, IEC 68-2-6: 15 g @ 5-200 Hz Triaxial; operational </a:t>
            </a:r>
          </a:p>
          <a:p>
            <a:r>
              <a:rPr lang="en-US" sz="1800" b="1" dirty="0"/>
              <a:t>Railway/Rolling Stock:</a:t>
            </a:r>
            <a:r>
              <a:rPr lang="en-US" sz="1800" dirty="0"/>
              <a:t> EN 50155, EN 50121 and EN 61373 </a:t>
            </a:r>
          </a:p>
          <a:p>
            <a:r>
              <a:rPr lang="en-US" sz="1800" b="1" dirty="0"/>
              <a:t>Marine:</a:t>
            </a:r>
            <a:r>
              <a:rPr lang="en-US" sz="1800" dirty="0"/>
              <a:t> ABS Type Approval for Shipboard Applications </a:t>
            </a:r>
          </a:p>
          <a:p>
            <a:r>
              <a:rPr lang="en-US" sz="1800" b="1" dirty="0"/>
              <a:t>Designed to Comply with</a:t>
            </a:r>
            <a:r>
              <a:rPr lang="en-US" sz="1800" dirty="0"/>
              <a:t>: IEEE 1613 for Electric Utility Substations and NEMA TS1/TS2 for Traffic Control </a:t>
            </a:r>
          </a:p>
          <a:p>
            <a:r>
              <a:rPr lang="en-US" sz="1800" b="1" dirty="0"/>
              <a:t>Other:</a:t>
            </a:r>
            <a:r>
              <a:rPr lang="en-US" sz="1800" dirty="0"/>
              <a:t> RoHS compliant</a:t>
            </a:r>
          </a:p>
        </p:txBody>
      </p:sp>
      <p:pic>
        <p:nvPicPr>
          <p:cNvPr id="16" name="Picture 15" descr="A grey rectangular object with a green button&#10;&#10;Description automatically generated">
            <a:extLst>
              <a:ext uri="{FF2B5EF4-FFF2-40B4-BE49-F238E27FC236}">
                <a16:creationId xmlns:a16="http://schemas.microsoft.com/office/drawing/2014/main" id="{BC4AC853-4474-8C39-9B1C-34CA5D9C970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5" t="8889" r="27500" b="13333"/>
          <a:stretch/>
        </p:blipFill>
        <p:spPr>
          <a:xfrm>
            <a:off x="170905" y="1600200"/>
            <a:ext cx="4096295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31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0793AFF-DCAF-D9F2-C14A-5D439FC6C8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301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2" progId="TCLayout.ActiveDocument.1">
                  <p:embed/>
                </p:oleObj>
              </mc:Choice>
              <mc:Fallback>
                <p:oleObj name="think-cell Slide" r:id="rId3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4F63C5B-EB89-774E-EF67-72EA6F11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w N-Tron® Series NT116 Unmanaged Industrial Ethernet Switch	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02B58C-4673-AF43-5DFF-C2132B6742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rdering Information</a:t>
            </a:r>
          </a:p>
        </p:txBody>
      </p:sp>
      <p:pic>
        <p:nvPicPr>
          <p:cNvPr id="32" name="Picture 31" descr="A grey box with a green lid&#10;&#10;Description automatically generated">
            <a:extLst>
              <a:ext uri="{FF2B5EF4-FFF2-40B4-BE49-F238E27FC236}">
                <a16:creationId xmlns:a16="http://schemas.microsoft.com/office/drawing/2014/main" id="{31F2EC72-4A60-26A9-CF11-77B003BA576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0" t="5704" r="30625" b="5407"/>
          <a:stretch/>
        </p:blipFill>
        <p:spPr>
          <a:xfrm>
            <a:off x="7112228" y="1266821"/>
            <a:ext cx="2483890" cy="3257560"/>
          </a:xfrm>
          <a:prstGeom prst="rect">
            <a:avLst/>
          </a:prstGeom>
        </p:spPr>
      </p:pic>
      <p:pic>
        <p:nvPicPr>
          <p:cNvPr id="36" name="Picture 35" descr="A grey and black device with a green button&#10;&#10;Description automatically generated">
            <a:extLst>
              <a:ext uri="{FF2B5EF4-FFF2-40B4-BE49-F238E27FC236}">
                <a16:creationId xmlns:a16="http://schemas.microsoft.com/office/drawing/2014/main" id="{2A77B545-3DEB-971C-840B-376CCDAFDF2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0" t="6665" r="35000" b="5556"/>
          <a:stretch/>
        </p:blipFill>
        <p:spPr>
          <a:xfrm>
            <a:off x="9296399" y="2362201"/>
            <a:ext cx="2543652" cy="3044674"/>
          </a:xfrm>
          <a:prstGeom prst="rect">
            <a:avLst/>
          </a:prstGeom>
        </p:spPr>
      </p:pic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7C7C0D95-1EC4-7F72-ECFE-28FE295D2B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248008"/>
              </p:ext>
            </p:extLst>
          </p:nvPr>
        </p:nvGraphicFramePr>
        <p:xfrm>
          <a:off x="533400" y="1752496"/>
          <a:ext cx="6096000" cy="2253416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2245895">
                  <a:extLst>
                    <a:ext uri="{9D8B030D-6E8A-4147-A177-3AD203B41FA5}">
                      <a16:colId xmlns:a16="http://schemas.microsoft.com/office/drawing/2014/main" val="1410308753"/>
                    </a:ext>
                  </a:extLst>
                </a:gridCol>
                <a:gridCol w="3850105">
                  <a:extLst>
                    <a:ext uri="{9D8B030D-6E8A-4147-A177-3AD203B41FA5}">
                      <a16:colId xmlns:a16="http://schemas.microsoft.com/office/drawing/2014/main" val="4194777700"/>
                    </a:ext>
                  </a:extLst>
                </a:gridCol>
              </a:tblGrid>
              <a:tr h="516056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Par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0000"/>
                          </a:solidFill>
                        </a:rPr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3942551"/>
                  </a:ext>
                </a:extLst>
              </a:tr>
              <a:tr h="516056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NT-116-0000-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16-Port 10/100 Unmanaged industrial Ethernet Switch (16 100Base RJ45 Port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648413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NT-CPMA-03-00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NT5000 Panel Mount Kit, Type A (Wid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390689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NTPS-24-1-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00"/>
                          </a:solidFill>
                        </a:rPr>
                        <a:t>DIN Rail Power Supply 1.3 AMP @ 24 VD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1772275"/>
                  </a:ext>
                </a:extLst>
              </a:tr>
            </a:tbl>
          </a:graphicData>
        </a:graphic>
      </p:graphicFrame>
      <p:sp>
        <p:nvSpPr>
          <p:cNvPr id="39" name="TextBox 38">
            <a:extLst>
              <a:ext uri="{FF2B5EF4-FFF2-40B4-BE49-F238E27FC236}">
                <a16:creationId xmlns:a16="http://schemas.microsoft.com/office/drawing/2014/main" id="{12AC81FE-CDA0-E6E8-8190-FDD998C1CA97}"/>
              </a:ext>
            </a:extLst>
          </p:cNvPr>
          <p:cNvSpPr txBox="1"/>
          <p:nvPr/>
        </p:nvSpPr>
        <p:spPr>
          <a:xfrm>
            <a:off x="7010400" y="4619694"/>
            <a:ext cx="1798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tandard DIN Rail Mou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3F7E6F1-B093-E90C-E902-036DF413E552}"/>
              </a:ext>
            </a:extLst>
          </p:cNvPr>
          <p:cNvSpPr txBox="1"/>
          <p:nvPr/>
        </p:nvSpPr>
        <p:spPr>
          <a:xfrm>
            <a:off x="9758274" y="5406874"/>
            <a:ext cx="179809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>
                    <a:lumMod val="75000"/>
                  </a:schemeClr>
                </a:solidFill>
              </a:rPr>
              <a:t>Shown with Optional Field Installable Panel Mount</a:t>
            </a:r>
          </a:p>
        </p:txBody>
      </p:sp>
    </p:spTree>
    <p:extLst>
      <p:ext uri="{BB962C8B-B14F-4D97-AF65-F5344CB8AC3E}">
        <p14:creationId xmlns:p14="http://schemas.microsoft.com/office/powerpoint/2010/main" val="1945072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A04EAF2-EB82-5B48-841D-005D1824E3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469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4" imgH="412" progId="TCLayout.ActiveDocument.1">
                  <p:embed/>
                </p:oleObj>
              </mc:Choice>
              <mc:Fallback>
                <p:oleObj name="think-cell Slide" r:id="rId3" imgW="414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136BAD-F22F-EF1A-3E31-37D97DDBB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2438400"/>
            <a:ext cx="8382000" cy="685799"/>
          </a:xfrm>
        </p:spPr>
        <p:txBody>
          <a:bodyPr vert="horz"/>
          <a:lstStyle/>
          <a:p>
            <a:r>
              <a:rPr lang="en-US" dirty="0"/>
              <a:t>More Information:</a:t>
            </a:r>
            <a:br>
              <a:rPr lang="en-US" dirty="0"/>
            </a:br>
            <a:r>
              <a:rPr lang="en-US" dirty="0">
                <a:solidFill>
                  <a:schemeClr val="bg2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dlion.net/NT116</a:t>
            </a:r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239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964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d Lion">
      <a:dk1>
        <a:srgbClr val="FFFFFF"/>
      </a:dk1>
      <a:lt1>
        <a:srgbClr val="AB2328"/>
      </a:lt1>
      <a:dk2>
        <a:srgbClr val="FFFFFF"/>
      </a:dk2>
      <a:lt2>
        <a:srgbClr val="1B365D"/>
      </a:lt2>
      <a:accent1>
        <a:srgbClr val="FFFFFF"/>
      </a:accent1>
      <a:accent2>
        <a:srgbClr val="63666A"/>
      </a:accent2>
      <a:accent3>
        <a:srgbClr val="89AAE3"/>
      </a:accent3>
      <a:accent4>
        <a:srgbClr val="E1B71B"/>
      </a:accent4>
      <a:accent5>
        <a:srgbClr val="1B355D"/>
      </a:accent5>
      <a:accent6>
        <a:srgbClr val="AA2328"/>
      </a:accent6>
      <a:hlink>
        <a:srgbClr val="89AAE3"/>
      </a:hlink>
      <a:folHlink>
        <a:srgbClr val="1B355D"/>
      </a:folHlink>
    </a:clrScheme>
    <a:fontScheme name="Red Lion 2023">
      <a:majorFont>
        <a:latin typeface="Titillium Bd"/>
        <a:ea typeface=""/>
        <a:cs typeface=""/>
      </a:majorFont>
      <a:minorFont>
        <a:latin typeface="Lat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TX File.potx" id="{AC406EB9-E4A6-401A-A7C5-DB2BA9542855}" vid="{10CD099C-59ED-4CE5-9A7F-4AC0194B12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114059C182DB44B58404FAB207EA36" ma:contentTypeVersion="4" ma:contentTypeDescription="Create a new document." ma:contentTypeScope="" ma:versionID="8ab6285707318fe780813f0a490028e2">
  <xsd:schema xmlns:xsd="http://www.w3.org/2001/XMLSchema" xmlns:xs="http://www.w3.org/2001/XMLSchema" xmlns:p="http://schemas.microsoft.com/office/2006/metadata/properties" xmlns:ns2="746c3ddc-e51c-4a9d-94a5-dae5cb66ca30" targetNamespace="http://schemas.microsoft.com/office/2006/metadata/properties" ma:root="true" ma:fieldsID="c324ef68dcf249b8cf39bcda34b425ff" ns2:_="">
    <xsd:import namespace="746c3ddc-e51c-4a9d-94a5-dae5cb66ca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6c3ddc-e51c-4a9d-94a5-dae5cb66ca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A9BDDF-7AF5-48AC-A33B-221F519B4A38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88a3897f-0c9b-429b-ba48-737d82106213"/>
    <ds:schemaRef ds:uri="http://purl.org/dc/dcmitype/"/>
    <ds:schemaRef ds:uri="http://purl.org/dc/terms/"/>
    <ds:schemaRef ds:uri="http://schemas.openxmlformats.org/package/2006/metadata/core-properties"/>
    <ds:schemaRef ds:uri="d1815772-c48a-4cbe-b79e-b9fbd0c6c708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DE9BBB3-370E-47C2-8C55-A1FB77ACC2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6c3ddc-e51c-4a9d-94a5-dae5cb66ca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3746109-09B9-4044-A70B-54969BB0FC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TX File</Template>
  <TotalTime>1784</TotalTime>
  <Words>345</Words>
  <Application>Microsoft Office PowerPoint</Application>
  <PresentationFormat>Widescreen</PresentationFormat>
  <Paragraphs>4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Courier New</vt:lpstr>
      <vt:lpstr>Lato</vt:lpstr>
      <vt:lpstr>Lato Light</vt:lpstr>
      <vt:lpstr>Lato Medium</vt:lpstr>
      <vt:lpstr>Titillium</vt:lpstr>
      <vt:lpstr>Titillium Web Light</vt:lpstr>
      <vt:lpstr>Titillium Web SemiBold</vt:lpstr>
      <vt:lpstr>COVER</vt:lpstr>
      <vt:lpstr>think-cell Slide</vt:lpstr>
      <vt:lpstr>New N-Tron Series NT116</vt:lpstr>
      <vt:lpstr>N-Tron Series NT116</vt:lpstr>
      <vt:lpstr>N-Tron® Series NT116 Certification &amp; Compliance</vt:lpstr>
      <vt:lpstr>New N-Tron® Series NT116 Unmanaged Industrial Ethernet Switch </vt:lpstr>
      <vt:lpstr>More Information: https://www.redlion.net/NT116</vt:lpstr>
      <vt:lpstr>PowerPoint Presentation</vt:lpstr>
    </vt:vector>
  </TitlesOfParts>
  <Manager/>
  <Company>Red Lion Contr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N-Tron Series NT116</dc:title>
  <dc:creator>Diane Davis</dc:creator>
  <cp:lastModifiedBy>Prasad Deshpande</cp:lastModifiedBy>
  <cp:revision>9</cp:revision>
  <dcterms:created xsi:type="dcterms:W3CDTF">2024-06-03T15:42:19Z</dcterms:created>
  <dcterms:modified xsi:type="dcterms:W3CDTF">2024-06-25T13:0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7e01cc-5b14-4415-bc54-c7fd698f74a3_Enabled">
    <vt:lpwstr>true</vt:lpwstr>
  </property>
  <property fmtid="{D5CDD505-2E9C-101B-9397-08002B2CF9AE}" pid="3" name="MSIP_Label_ff7e01cc-5b14-4415-bc54-c7fd698f74a3_SetDate">
    <vt:lpwstr>2023-07-17T20:14:07Z</vt:lpwstr>
  </property>
  <property fmtid="{D5CDD505-2E9C-101B-9397-08002B2CF9AE}" pid="4" name="MSIP_Label_ff7e01cc-5b14-4415-bc54-c7fd698f74a3_Method">
    <vt:lpwstr>Privileged</vt:lpwstr>
  </property>
  <property fmtid="{D5CDD505-2E9C-101B-9397-08002B2CF9AE}" pid="5" name="MSIP_Label_ff7e01cc-5b14-4415-bc54-c7fd698f74a3_Name">
    <vt:lpwstr>Corporate</vt:lpwstr>
  </property>
  <property fmtid="{D5CDD505-2E9C-101B-9397-08002B2CF9AE}" pid="6" name="MSIP_Label_ff7e01cc-5b14-4415-bc54-c7fd698f74a3_SiteId">
    <vt:lpwstr>247aee67-12cb-4195-acc7-03a2905017c7</vt:lpwstr>
  </property>
  <property fmtid="{D5CDD505-2E9C-101B-9397-08002B2CF9AE}" pid="7" name="MSIP_Label_ff7e01cc-5b14-4415-bc54-c7fd698f74a3_ActionId">
    <vt:lpwstr>d606d5e7-e609-4296-9c3a-8c6a928fdde8</vt:lpwstr>
  </property>
  <property fmtid="{D5CDD505-2E9C-101B-9397-08002B2CF9AE}" pid="8" name="MSIP_Label_ff7e01cc-5b14-4415-bc54-c7fd698f74a3_ContentBits">
    <vt:lpwstr>2</vt:lpwstr>
  </property>
  <property fmtid="{D5CDD505-2E9C-101B-9397-08002B2CF9AE}" pid="9" name="ContentTypeId">
    <vt:lpwstr>0x01010013114059C182DB44B58404FAB207EA36</vt:lpwstr>
  </property>
  <property fmtid="{D5CDD505-2E9C-101B-9397-08002B2CF9AE}" pid="10" name="_dlc_DocIdItemGuid">
    <vt:lpwstr>900aa8cc-9643-4341-9d5b-107e804b0621</vt:lpwstr>
  </property>
  <property fmtid="{D5CDD505-2E9C-101B-9397-08002B2CF9AE}" pid="11" name="MediaServiceImageTags">
    <vt:lpwstr/>
  </property>
</Properties>
</file>